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99"/>
    <p:restoredTop sz="92272"/>
  </p:normalViewPr>
  <p:slideViewPr>
    <p:cSldViewPr snapToGrid="0" snapToObjects="1">
      <p:cViewPr varScale="1">
        <p:scale>
          <a:sx n="96" d="100"/>
          <a:sy n="96" d="100"/>
        </p:scale>
        <p:origin x="360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tx1"/>
                </a:solidFill>
                <a:latin typeface="Cambria"/>
                <a:ea typeface="+mn-ea"/>
                <a:cs typeface="Cambria"/>
              </a:defRPr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Cambria"/>
                    <a:ea typeface="+mn-ea"/>
                    <a:cs typeface="Cambria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1.3</c:v>
                </c:pt>
                <c:pt idx="1">
                  <c:v>10.7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noFill/>
        <a:ln w="12700"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88</c:v>
                </c:pt>
                <c:pt idx="1">
                  <c:v>0.502</c:v>
                </c:pt>
                <c:pt idx="2">
                  <c:v>0.21</c:v>
                </c:pt>
                <c:pt idx="3">
                  <c:v>0.10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5.291005291005290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8099999999999999</c:v>
                </c:pt>
                <c:pt idx="1">
                  <c:v>0.50600000000000001</c:v>
                </c:pt>
                <c:pt idx="2">
                  <c:v>0.22500000000000001</c:v>
                </c:pt>
                <c:pt idx="3">
                  <c:v>8.79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  <c:max val="0.6"/>
          <c:min val="0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.4</c:v>
                </c:pt>
                <c:pt idx="1">
                  <c:v>74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Montana</a:t>
            </a:r>
          </a:p>
        </c:rich>
      </c:tx>
      <c:layout>
        <c:manualLayout>
          <c:xMode val="edge"/>
          <c:yMode val="edge"/>
          <c:x val="0.26684368815758847"/>
          <c:y val="0.122609295421814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.3</c:v>
                </c:pt>
                <c:pt idx="1">
                  <c:v>7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0399999999999999</c:v>
                </c:pt>
                <c:pt idx="1">
                  <c:v>0.113</c:v>
                </c:pt>
                <c:pt idx="2">
                  <c:v>0.10100000000000001</c:v>
                </c:pt>
                <c:pt idx="3" formatCode="0.00%">
                  <c:v>1.524390243902439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7.2033712299131292E-4"/>
                  <c:y val="5.57986582488697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07701419610285E-2"/>
                      <c:h val="6.182687280603480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2.78982307688928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5700000000000001</c:v>
                </c:pt>
                <c:pt idx="1">
                  <c:v>0.105</c:v>
                </c:pt>
                <c:pt idx="2">
                  <c:v>8.2000000000000003E-2</c:v>
                </c:pt>
                <c:pt idx="3" formatCode="0.00%">
                  <c:v>2.43584040140316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3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546511795414049"/>
          <c:y val="0.41383906015912975"/>
          <c:w val="0.13453484981044037"/>
          <c:h val="0.1500032950666262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6199999999999999</c:v>
                </c:pt>
                <c:pt idx="1">
                  <c:v>0.39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2.856820219628739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33400000000000002</c:v>
                </c:pt>
                <c:pt idx="1">
                  <c:v>0.3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  <c:max val="0.5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ontana</a:t>
            </a:r>
          </a:p>
        </c:rich>
      </c:tx>
      <c:layout>
        <c:manualLayout>
          <c:xMode val="edge"/>
          <c:yMode val="edge"/>
          <c:x val="0.26752682146958973"/>
          <c:y val="0.1356776447354960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71.5%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767-EC43-8893-33B462779E9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1.5</c:v>
                </c:pt>
                <c:pt idx="1">
                  <c:v>5.3</c:v>
                </c:pt>
                <c:pt idx="2">
                  <c:v>2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50.2%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5E5-2C4A-99A4-B10D66CC300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7.5</c:v>
                </c:pt>
                <c:pt idx="1">
                  <c:v>12.3</c:v>
                </c:pt>
                <c:pt idx="2">
                  <c:v>5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ontana</a:t>
            </a:r>
          </a:p>
        </c:rich>
      </c:tx>
      <c:layout>
        <c:manualLayout>
          <c:xMode val="edge"/>
          <c:yMode val="edge"/>
          <c:x val="0.27149574937642179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5.6</c:v>
                </c:pt>
                <c:pt idx="1">
                  <c:v>9.3000000000000007</c:v>
                </c:pt>
                <c:pt idx="2">
                  <c:v>4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1.9</c:v>
                </c:pt>
                <c:pt idx="1">
                  <c:v>31.1</c:v>
                </c:pt>
                <c:pt idx="2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ontana</a:t>
            </a:r>
          </a:p>
        </c:rich>
      </c:tx>
      <c:layout>
        <c:manualLayout>
          <c:xMode val="edge"/>
          <c:yMode val="edge"/>
          <c:x val="0.27816428650065805"/>
          <c:y val="0.1356776447354960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7.1</c:v>
                </c:pt>
                <c:pt idx="1">
                  <c:v>38.1</c:v>
                </c:pt>
                <c:pt idx="2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1299999999999997</c:v>
                </c:pt>
                <c:pt idx="1">
                  <c:v>6.7163258046014571E-2</c:v>
                </c:pt>
                <c:pt idx="2">
                  <c:v>0.227989167919035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ontana</a:t>
            </a:r>
          </a:p>
        </c:rich>
      </c:tx>
      <c:layout>
        <c:manualLayout>
          <c:xMode val="edge"/>
          <c:yMode val="edge"/>
          <c:x val="0.27816428650065805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dLbl>
              <c:idx val="0"/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7A5-F443-8941-926C5B49E51E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A5-F443-8941-926C5B49E51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59064327485380119</c:v>
                </c:pt>
                <c:pt idx="1">
                  <c:v>5.1169590643274851E-2</c:v>
                </c:pt>
                <c:pt idx="2">
                  <c:v>0.358187134502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tana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49299999999999999</c:v>
                </c:pt>
                <c:pt idx="1">
                  <c:v>0.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1.5360983102918587E-3"/>
                  <c:y val="-1.94446674200934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158157649648636E-2"/>
                      <c:h val="3.72640064007013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1699999999999998</c:v>
                </c:pt>
                <c:pt idx="1">
                  <c:v>0.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0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3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24 National Report Summary: Montana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07278909"/>
              </p:ext>
            </p:extLst>
          </p:nvPr>
        </p:nvGraphicFramePr>
        <p:xfrm>
          <a:off x="457200" y="1435623"/>
          <a:ext cx="83439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15990200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7539308"/>
              </p:ext>
            </p:extLst>
          </p:nvPr>
        </p:nvGraphicFramePr>
        <p:xfrm>
          <a:off x="5335199" y="1417638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7526865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123734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4349062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9449759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prior to EMS arrival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2274134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0658252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09859381"/>
              </p:ext>
            </p:extLst>
          </p:nvPr>
        </p:nvGraphicFramePr>
        <p:xfrm>
          <a:off x="251012" y="1500809"/>
          <a:ext cx="8550088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74881005"/>
              </p:ext>
            </p:extLst>
          </p:nvPr>
        </p:nvGraphicFramePr>
        <p:xfrm>
          <a:off x="233082" y="1417638"/>
          <a:ext cx="8453718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596632372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3884918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19757385"/>
              </p:ext>
            </p:extLst>
          </p:nvPr>
        </p:nvGraphicFramePr>
        <p:xfrm>
          <a:off x="457200" y="1550504"/>
          <a:ext cx="8453718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6</TotalTime>
  <Words>148</Words>
  <Application>Microsoft Office PowerPoint</Application>
  <PresentationFormat>On-screen Show (4:3)</PresentationFormat>
  <Paragraphs>38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24 National Report Summary: Montana</vt:lpstr>
      <vt:lpstr>Location of Arrest</vt:lpstr>
      <vt:lpstr>Arrest Witness Status</vt:lpstr>
      <vt:lpstr>Who Initiated CPR</vt:lpstr>
      <vt:lpstr>Was an AED Applied  prior to EMS arrival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Janet Trethewey</cp:lastModifiedBy>
  <cp:revision>58</cp:revision>
  <dcterms:created xsi:type="dcterms:W3CDTF">2018-11-12T17:36:49Z</dcterms:created>
  <dcterms:modified xsi:type="dcterms:W3CDTF">2025-04-30T19:21:25Z</dcterms:modified>
</cp:coreProperties>
</file>